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84" r:id="rId1"/>
  </p:sldMasterIdLst>
  <p:sldIdLst>
    <p:sldId id="297" r:id="rId2"/>
    <p:sldId id="298" r:id="rId3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79" d="100"/>
          <a:sy n="79" d="100"/>
        </p:scale>
        <p:origin x="96" y="52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2.xml"/><Relationship Id="rId7" Type="http://schemas.openxmlformats.org/officeDocument/2006/relationships/image" Target="../media/image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9.jp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0.pn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1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1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1799884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3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39249452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6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8737622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8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119993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4970095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3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096202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58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0454694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14611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0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8392420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90"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 October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4F3FEBFC-273A-442C-B1D7-33DAC21547CC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2"/>
    </p:custDataLst>
    <p:extLst>
      <p:ext uri="{BB962C8B-B14F-4D97-AF65-F5344CB8AC3E}">
        <p14:creationId xmlns:p14="http://schemas.microsoft.com/office/powerpoint/2010/main" val="185958761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  <p:sldLayoutId id="2147483993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4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3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Economia de eletricidade de 20% a 45%</a:t>
            </a:r>
            <a:endParaRPr lang="pt-BR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3510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Forno ECO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Otimização de </a:t>
            </a:r>
            <a:r>
              <a:rPr lang="en-US" sz="800" kern="0" dirty="0">
                <a:solidFill>
                  <a:srgbClr val="000000"/>
                </a:solidFill>
              </a:rPr>
              <a:t>custos, </a:t>
            </a:r>
            <a:r>
              <a:rPr lang="en-US" sz="800" kern="0" dirty="0" err="1">
                <a:solidFill>
                  <a:srgbClr val="000000"/>
                </a:solidFill>
              </a:rPr>
              <a:t>Sustentabilidade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amento: Sopradoras Universal exceto versão calor configura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álogo código: 1021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4014180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E VANTAGENS</a:t>
                      </a:r>
                      <a:endParaRPr kumimoji="0" lang="pt-B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ÇÃO</a:t>
                      </a:r>
                      <a:endParaRPr kumimoji="0" lang="pt-B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pt-BR" sz="1200" noProof="0" dirty="0"/>
                        <a:t>Economia de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</a:rPr>
                        <a:t>20% a 45% </a:t>
                      </a:r>
                      <a:r>
                        <a:rPr lang="en-US" sz="1200" dirty="0"/>
                        <a:t>do consumo de eletricidade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Menos lâmpadas para menos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11% </a:t>
                      </a:r>
                      <a:r>
                        <a:rPr lang="en-US" sz="1200" dirty="0"/>
                        <a:t>de potênica instalada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Aquecimento mais dinâmico: Zoneamento mais forte na superfície da preforma e estiramento otimizado sob o gargalo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Manutenção facilitada: O módulo de aquecimento pode ser afinado na oficina enquanto a máquina funciona com um módulo suplente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As cerâmicas se limpam automaticamente por meio de pirólise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Novo suporte de ajuste bloco/forno: Montagem independente do escudo de resfriamento do gargalo para obter mais estabilidad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Módulo forno Eco com resfriamento das lâmpadas: A Super Cobra é substituída por um ventilador dedicado a cada módul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Módulo de aquecimento: Apenas 8 lâmpadas IR, lâmpadas mais eficientes, divisória em cerâmica e refletor no topo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Refletor no topo do forno em cerâmica, altura ajustável para se adaptar a todos os comprimentos de preformas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onexões: Armário pré conectado, adicionado para fornecer eletricidade aos ventiladores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Nova automatização e process: Armário elétrico principal modernizado (fornecimento de energia, novas funcionalidades e reajuste de todas as folhas do process)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" name="Rechteck 11">
            <a:extLst>
              <a:ext uri="{FF2B5EF4-FFF2-40B4-BE49-F238E27FC236}">
                <a16:creationId xmlns:a16="http://schemas.microsoft.com/office/drawing/2014/main" id="{E0844C06-7D8B-4460-893C-EEEEC1855DB8}"/>
              </a:ext>
            </a:extLst>
          </p:cNvPr>
          <p:cNvSpPr/>
          <p:nvPr/>
        </p:nvSpPr>
        <p:spPr>
          <a:xfrm>
            <a:off x="4768071" y="1743075"/>
            <a:ext cx="3872692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SCRIÇÃO</a:t>
            </a:r>
            <a:endParaRPr kumimoji="0" lang="pt-BR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90576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5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5" name="Objek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Economia de eletricidade de 20% a 45%</a:t>
            </a:r>
            <a:endParaRPr lang="pt-B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320777"/>
            <a:ext cx="7997825" cy="306387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Forno ECO</a:t>
            </a: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4" name="Group 188"/>
          <p:cNvGraphicFramePr>
            <a:graphicFrameLocks noGrp="1"/>
          </p:cNvGraphicFramePr>
          <p:nvPr>
            <p:extLst/>
          </p:nvPr>
        </p:nvGraphicFramePr>
        <p:xfrm>
          <a:off x="651885" y="1636588"/>
          <a:ext cx="7995726" cy="4204680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68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536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ÇÃO</a:t>
                      </a:r>
                      <a:endParaRPr kumimoji="0" lang="pt-B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 gridSpan="3"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pt-BR" sz="1200" b="1" noProof="0" dirty="0"/>
                        <a:t>Novo suporte de ajuste bloco/forno</a:t>
                      </a:r>
                      <a:br>
                        <a:rPr lang="pt-BR" noProof="0" dirty="0"/>
                      </a:br>
                      <a:r>
                        <a:rPr lang="pt-BR" sz="1200" noProof="0" dirty="0"/>
                        <a:t>Montagem independente do escudo de resfriamento do gargalo para mais estabilidade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pt-BR" sz="1200" noProof="0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pt-BR" sz="1200" b="1" noProof="0" dirty="0"/>
                        <a:t>Módulo forno Eco com resfriamento das lâmpadas</a:t>
                      </a:r>
                      <a:br>
                        <a:rPr lang="pt-BR" noProof="0" dirty="0"/>
                      </a:br>
                      <a:r>
                        <a:rPr lang="pt-BR" sz="1200" noProof="0" dirty="0"/>
                        <a:t>A Super Cobra é substituída por um ventilador dedicado a cada módulo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pt-BR" sz="1200" b="1" noProof="0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pt-BR" sz="1200" b="1" noProof="0" dirty="0"/>
                        <a:t>Módulos de aquecimento</a:t>
                      </a:r>
                      <a:br>
                        <a:rPr lang="pt-BR" noProof="0" dirty="0"/>
                      </a:br>
                      <a:r>
                        <a:rPr lang="pt-BR" sz="1200" noProof="0" dirty="0"/>
                        <a:t>Apenas 8 lâmpadas IR, lâmpadas mais eficientes, divisória em cerâmica e refletor no topo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pt-BR" sz="1200" b="1" noProof="0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pt-BR" sz="1200" b="1" noProof="0" dirty="0"/>
                        <a:t>Refletor no topo do forno em cerâmica, altura ajustável para se adaptar a todos os </a:t>
                      </a:r>
                      <a:br>
                        <a:rPr lang="pt-BR" sz="1200" b="1" noProof="0" dirty="0"/>
                      </a:br>
                      <a:r>
                        <a:rPr lang="pt-BR" sz="1200" b="1" noProof="0" dirty="0"/>
                        <a:t>comprimentos de preforma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pt-BR" sz="1200" b="1" noProof="0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pt-BR" sz="1200" b="1" noProof="0" dirty="0"/>
                        <a:t>Conexões</a:t>
                      </a:r>
                      <a:br>
                        <a:rPr lang="pt-BR" noProof="0" dirty="0"/>
                      </a:br>
                      <a:r>
                        <a:rPr lang="pt-BR" sz="1200" noProof="0" dirty="0"/>
                        <a:t>Armário pré conectado, adicionado para fornecer eletricidade aos ventiladore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pt-BR" sz="1200" b="1" noProof="0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pt-BR" sz="1200" b="1" noProof="0" dirty="0"/>
                        <a:t>Nova automatização e novo process</a:t>
                      </a:r>
                      <a:br>
                        <a:rPr lang="pt-BR" noProof="0" dirty="0"/>
                      </a:br>
                      <a:r>
                        <a:rPr lang="pt-BR" sz="1200" noProof="0" dirty="0"/>
                        <a:t>Armário elétrico principal modernizado (fornecimento de energia, novas funcionalidades</a:t>
                      </a:r>
                      <a:br>
                        <a:rPr lang="pt-BR" sz="1200" noProof="0" dirty="0"/>
                      </a:br>
                      <a:r>
                        <a:rPr lang="pt-BR" sz="1200" noProof="0" dirty="0"/>
                        <a:t>e reajuste de todas as folhas do process)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pSp>
        <p:nvGrpSpPr>
          <p:cNvPr id="15" name="Gruppieren 14"/>
          <p:cNvGrpSpPr/>
          <p:nvPr/>
        </p:nvGrpSpPr>
        <p:grpSpPr>
          <a:xfrm>
            <a:off x="7524328" y="2215917"/>
            <a:ext cx="884820" cy="3409327"/>
            <a:chOff x="7321550" y="1842293"/>
            <a:chExt cx="1153814" cy="4445795"/>
          </a:xfrm>
        </p:grpSpPr>
        <p:pic>
          <p:nvPicPr>
            <p:cNvPr id="6" name="Picture 23" descr="1021"/>
            <p:cNvPicPr>
              <a:picLocks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76" t="3406" r="83820" b="7014"/>
            <a:stretch/>
          </p:blipFill>
          <p:spPr bwMode="gray">
            <a:xfrm>
              <a:off x="7321550" y="1842293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23" descr="1021"/>
            <p:cNvPicPr>
              <a:picLocks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330" t="3406" r="66266" b="7014"/>
            <a:stretch/>
          </p:blipFill>
          <p:spPr bwMode="gray">
            <a:xfrm>
              <a:off x="7321550" y="2589529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23" descr="1021"/>
            <p:cNvPicPr>
              <a:picLocks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552" t="14276" r="51150" b="16306"/>
            <a:stretch/>
          </p:blipFill>
          <p:spPr bwMode="gray">
            <a:xfrm>
              <a:off x="7321550" y="3336765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23" descr="1021"/>
            <p:cNvPicPr>
              <a:picLocks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411" t="15338" r="33525" b="10078"/>
            <a:stretch/>
          </p:blipFill>
          <p:spPr bwMode="gray">
            <a:xfrm>
              <a:off x="7321550" y="4084001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23" descr="1021"/>
            <p:cNvPicPr>
              <a:picLocks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428" t="14276" r="16274" b="16306"/>
            <a:stretch/>
          </p:blipFill>
          <p:spPr bwMode="gray">
            <a:xfrm>
              <a:off x="7321550" y="4831237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23" descr="1021"/>
            <p:cNvPicPr>
              <a:picLocks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8396" t="14276" r="1306" b="16306"/>
            <a:stretch/>
          </p:blipFill>
          <p:spPr bwMode="gray">
            <a:xfrm>
              <a:off x="7321550" y="5578475"/>
              <a:ext cx="1153814" cy="709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6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Otimização de </a:t>
            </a:r>
            <a:r>
              <a:rPr lang="en-US" sz="800" kern="0" dirty="0">
                <a:solidFill>
                  <a:srgbClr val="000000"/>
                </a:solidFill>
              </a:rPr>
              <a:t>custos, </a:t>
            </a:r>
            <a:r>
              <a:rPr lang="en-US" sz="800" kern="0">
                <a:solidFill>
                  <a:srgbClr val="000000"/>
                </a:solidFill>
              </a:rPr>
              <a:t>Sustentabilidade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amento: Sopradoras Universal exceto versão calor configurad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álogo código: 1021</a:t>
            </a:r>
          </a:p>
        </p:txBody>
      </p:sp>
      <p:sp>
        <p:nvSpPr>
          <p:cNvPr id="17" name="Rechteck 11">
            <a:extLst>
              <a:ext uri="{FF2B5EF4-FFF2-40B4-BE49-F238E27FC236}">
                <a16:creationId xmlns:a16="http://schemas.microsoft.com/office/drawing/2014/main" id="{A7D88D90-9A89-4CA2-8BF5-A27165F3C2F8}"/>
              </a:ext>
            </a:extLst>
          </p:cNvPr>
          <p:cNvSpPr/>
          <p:nvPr/>
        </p:nvSpPr>
        <p:spPr>
          <a:xfrm>
            <a:off x="651885" y="1627164"/>
            <a:ext cx="7995726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SCRIÇÃO</a:t>
            </a:r>
            <a:endParaRPr kumimoji="0" lang="pt-BR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86938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256</Words>
  <Application>Microsoft Office PowerPoint</Application>
  <PresentationFormat>Affichage à l'écran (4:3)</PresentationFormat>
  <Paragraphs>37</Paragraphs>
  <Slides>2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7" baseType="lpstr">
      <vt:lpstr>ＭＳ Ｐゴシック</vt:lpstr>
      <vt:lpstr>Arial</vt:lpstr>
      <vt:lpstr>Wingdings</vt:lpstr>
      <vt:lpstr>LIOMT</vt:lpstr>
      <vt:lpstr>think-cell Folie</vt:lpstr>
      <vt:lpstr>Economia de eletricidade de 20% a 45%</vt:lpstr>
      <vt:lpstr>Economia de eletricidade de 20% a 45%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43</cp:revision>
  <dcterms:created xsi:type="dcterms:W3CDTF">2014-05-22T13:23:46Z</dcterms:created>
  <dcterms:modified xsi:type="dcterms:W3CDTF">2019-10-10T13:11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3:11:23.5974703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2T16:06:57.3147582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2T16:06:57.3303582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